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notesMasterIdLst>
    <p:notesMasterId r:id="rId7"/>
  </p:notesMasterIdLst>
  <p:handoutMasterIdLst>
    <p:handoutMasterId r:id="rId8"/>
  </p:handoutMasterIdLst>
  <p:sldIdLst>
    <p:sldId id="256" r:id="rId2"/>
    <p:sldId id="257" r:id="rId3"/>
    <p:sldId id="261" r:id="rId4"/>
    <p:sldId id="259" r:id="rId5"/>
    <p:sldId id="260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0003"/>
    <a:srgbClr val="62139E"/>
    <a:srgbClr val="219797"/>
    <a:srgbClr val="E3CD74"/>
    <a:srgbClr val="EEB42D"/>
    <a:srgbClr val="EED4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00" autoAdjust="0"/>
    <p:restoredTop sz="94600" autoAdjust="0"/>
  </p:normalViewPr>
  <p:slideViewPr>
    <p:cSldViewPr>
      <p:cViewPr>
        <p:scale>
          <a:sx n="70" d="100"/>
          <a:sy n="70" d="100"/>
        </p:scale>
        <p:origin x="-2814" y="-9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2" d="100"/>
          <a:sy n="52" d="100"/>
        </p:scale>
        <p:origin x="-2712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18EB9-1734-4268-A7CF-572F06F5A054}" type="datetimeFigureOut">
              <a:rPr lang="en-US" smtClean="0"/>
              <a:t>1/25/2019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F234B3-243A-45EE-BD7B-DA79D3EEA0D7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5018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D914D-3DB8-4929-8B3C-7A7C5C1DABD4}" type="datetimeFigureOut">
              <a:rPr lang="en-US" smtClean="0"/>
              <a:t>1/25/2019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20A4FA-DF68-4973-A367-1C403C256F3B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042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051ADB-A13A-44B0-8397-C812A2FAC74E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C5AB3D1-3955-4A78-866D-8849F164D00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160064-7881-4187-8975-359AC2B67D4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>
            <a:noAutofit/>
          </a:bodyPr>
          <a:lstStyle>
            <a:lvl1pPr>
              <a:defRPr sz="3200"/>
            </a:lvl1pPr>
            <a:extLst/>
          </a:lstStyle>
          <a:p>
            <a:r>
              <a:rPr kumimoji="0" lang="it-IT" dirty="0" smtClean="0"/>
              <a:t>Fare clic per modificare lo stile del titolo</a:t>
            </a:r>
            <a:endParaRPr kumimoji="0"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it-IT" smtClean="0"/>
              <a:t>Fare clic per modificare stili del testo dello schema</a:t>
            </a:r>
          </a:p>
          <a:p>
            <a:pPr lvl="1" eaLnBrk="1" latinLnBrk="0" hangingPunct="1"/>
            <a:r>
              <a:rPr lang="it-IT" smtClean="0"/>
              <a:t>Secondo livello</a:t>
            </a:r>
          </a:p>
          <a:p>
            <a:pPr lvl="2" eaLnBrk="1" latinLnBrk="0" hangingPunct="1"/>
            <a:r>
              <a:rPr lang="it-IT" smtClean="0"/>
              <a:t>Terzo livello</a:t>
            </a:r>
          </a:p>
          <a:p>
            <a:pPr lvl="3" eaLnBrk="1" latinLnBrk="0" hangingPunct="1"/>
            <a:r>
              <a:rPr lang="it-IT" smtClean="0"/>
              <a:t>Quarto livello</a:t>
            </a:r>
          </a:p>
          <a:p>
            <a:pPr lvl="4" eaLnBrk="1" latinLnBrk="0" hangingPunct="1"/>
            <a:r>
              <a:rPr lang="it-IT" smtClean="0"/>
              <a:t>Quinto livello</a:t>
            </a:r>
            <a:endParaRPr kumimoji="0"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it-IT" smtClean="0"/>
              <a:t>Fare clic per modificare lo stile del titolo</a:t>
            </a:r>
            <a:endParaRPr kumimoji="0"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pPr>
              <a:defRPr/>
            </a:pP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pPr>
              <a:defRPr/>
            </a:pPr>
            <a:fld id="{2506E8A8-010A-4DFD-8C9D-6889C56C4442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8672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AC43697-07C1-4E1F-94B1-0B0C9FF4BD4E}" type="slidenum">
              <a:rPr lang="it-IT" smtClean="0"/>
              <a:t>‹N›</a:t>
            </a:fld>
            <a:endParaRPr lang="it-IT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4A9342-0093-4CC8-BD00-F2900F88D611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3B220A-0F7D-40B4-8F09-3D50D7040E78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5D280-235C-436D-8F82-4B17723F930D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06E8A8-010A-4DFD-8C9D-6889C56C4442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749024-DC18-428F-86B6-1B1531908351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44BAF6-2CCC-4D78-8300-6CA64DF9C67B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168420-CAC1-4A5E-8EB1-7C6F34C8A066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it-IT" smtClean="0"/>
              <a:t>Ing. Bacchelli e Ing. Marenco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fld id="{95160064-7881-4187-8975-359AC2B67D44}" type="slidenum">
              <a:rPr lang="it-IT" smtClean="0"/>
              <a:pPr>
                <a:defRPr/>
              </a:pPr>
              <a:t>‹N›</a:t>
            </a:fld>
            <a:endParaRPr lang="it-IT"/>
          </a:p>
        </p:txBody>
      </p:sp>
      <p:graphicFrame>
        <p:nvGraphicFramePr>
          <p:cNvPr id="11" name="Oggetto 10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677492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Diapositiva think-cell" r:id="rId18" imgW="360" imgH="360" progId="TCLayout.ActiveDocument.1">
                  <p:embed/>
                </p:oleObj>
              </mc:Choice>
              <mc:Fallback>
                <p:oleObj name="Diapositiva think-cell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674" r:id="rId12"/>
    <p:sldLayoutId id="2147483678" r:id="rId13"/>
    <p:sldLayoutId id="2147483661" r:id="rId14"/>
  </p:sldLayoutIdLst>
  <p:timing>
    <p:tnLst>
      <p:par>
        <p:cTn id="1" dur="indefinite" restart="never" nodeType="tmRoot"/>
      </p:par>
    </p:tnLst>
  </p:timing>
  <p:hf hdr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51520" y="548680"/>
            <a:ext cx="8208912" cy="3096344"/>
          </a:xfrm>
        </p:spPr>
        <p:txBody>
          <a:bodyPr/>
          <a:lstStyle/>
          <a:p>
            <a:pPr algn="ctr"/>
            <a:r>
              <a:rPr lang="it-IT" dirty="0" smtClean="0"/>
              <a:t>COMMISSIONE </a:t>
            </a:r>
            <a:br>
              <a:rPr lang="it-IT" dirty="0" smtClean="0"/>
            </a:br>
            <a:r>
              <a:rPr lang="it-IT" dirty="0" smtClean="0"/>
              <a:t/>
            </a:r>
            <a:br>
              <a:rPr lang="it-IT" dirty="0" smtClean="0"/>
            </a:br>
            <a:r>
              <a:rPr lang="it-IT" u="sng" dirty="0" smtClean="0"/>
              <a:t>Salute </a:t>
            </a:r>
            <a:r>
              <a:rPr lang="it-IT" u="sng" dirty="0"/>
              <a:t>e Sicurezza </a:t>
            </a:r>
            <a:r>
              <a:rPr lang="it-IT" u="sng" dirty="0" smtClean="0"/>
              <a:t/>
            </a:r>
            <a:br>
              <a:rPr lang="it-IT" u="sng" dirty="0" smtClean="0"/>
            </a:br>
            <a:r>
              <a:rPr lang="it-IT" u="sng" dirty="0" smtClean="0"/>
              <a:t>nei </a:t>
            </a:r>
            <a:r>
              <a:rPr lang="it-IT" u="sng" dirty="0"/>
              <a:t>luoghi di lavoro</a:t>
            </a:r>
          </a:p>
        </p:txBody>
      </p:sp>
      <p:sp>
        <p:nvSpPr>
          <p:cNvPr id="8" name="Sottotitolo 2"/>
          <p:cNvSpPr txBox="1">
            <a:spLocks/>
          </p:cNvSpPr>
          <p:nvPr/>
        </p:nvSpPr>
        <p:spPr>
          <a:xfrm>
            <a:off x="907824" y="4837160"/>
            <a:ext cx="7772400" cy="4640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it-IT" sz="1600" b="1" dirty="0" smtClean="0"/>
              <a:t>Coordinatore: Ing. Anna Bacchelli</a:t>
            </a:r>
            <a:endParaRPr lang="it-IT" sz="1600" b="1" dirty="0"/>
          </a:p>
        </p:txBody>
      </p:sp>
      <p:sp>
        <p:nvSpPr>
          <p:cNvPr id="9" name="Sottotitolo 2"/>
          <p:cNvSpPr txBox="1">
            <a:spLocks/>
          </p:cNvSpPr>
          <p:nvPr/>
        </p:nvSpPr>
        <p:spPr>
          <a:xfrm>
            <a:off x="907824" y="5588076"/>
            <a:ext cx="4352218" cy="4640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it-IT" sz="1600" b="1" dirty="0" smtClean="0"/>
              <a:t>Consigliere Referente: </a:t>
            </a:r>
            <a:r>
              <a:rPr lang="it-IT" sz="1600" b="1" dirty="0"/>
              <a:t>Ing. Andrea Raviolo</a:t>
            </a:r>
          </a:p>
          <a:p>
            <a:pPr fontAlgn="auto"/>
            <a:endParaRPr lang="it-IT" sz="1600" b="1" dirty="0"/>
          </a:p>
        </p:txBody>
      </p:sp>
      <p:sp>
        <p:nvSpPr>
          <p:cNvPr id="7" name="Segnaposto data 3"/>
          <p:cNvSpPr txBox="1">
            <a:spLocks/>
          </p:cNvSpPr>
          <p:nvPr/>
        </p:nvSpPr>
        <p:spPr>
          <a:xfrm>
            <a:off x="243568" y="6386413"/>
            <a:ext cx="228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/>
              <a:t>Modena 26  Gennaio  2019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70387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89577" y="3356992"/>
            <a:ext cx="8280920" cy="1872208"/>
          </a:xfrm>
        </p:spPr>
        <p:txBody>
          <a:bodyPr>
            <a:normAutofit/>
          </a:bodyPr>
          <a:lstStyle/>
          <a:p>
            <a:pPr marL="379476" indent="-342900">
              <a:buFontTx/>
              <a:buChar char="-"/>
            </a:pPr>
            <a:r>
              <a:rPr lang="it-IT" sz="2400" b="1" dirty="0" smtClean="0"/>
              <a:t>Riunione mensile con programma delle date con anticipo prossima riunione martedì 12/02 ore 18.30. Numero medio di partecipanti 10</a:t>
            </a:r>
          </a:p>
          <a:p>
            <a:pPr marL="379476" indent="-342900">
              <a:buFontTx/>
              <a:buChar char="-"/>
            </a:pPr>
            <a:endParaRPr lang="it-IT" sz="2400" b="1" dirty="0" smtClean="0"/>
          </a:p>
          <a:p>
            <a:pPr marL="379476" indent="-342900">
              <a:buFontTx/>
              <a:buChar char="-"/>
            </a:pPr>
            <a:endParaRPr lang="it-IT" sz="2400" b="1" dirty="0"/>
          </a:p>
        </p:txBody>
      </p:sp>
      <p:sp>
        <p:nvSpPr>
          <p:cNvPr id="7" name="Sottotitolo 2"/>
          <p:cNvSpPr txBox="1">
            <a:spLocks/>
          </p:cNvSpPr>
          <p:nvPr/>
        </p:nvSpPr>
        <p:spPr>
          <a:xfrm>
            <a:off x="487361" y="1574069"/>
            <a:ext cx="8280920" cy="21602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9476" indent="-342900" fontAlgn="auto">
              <a:buFontTx/>
              <a:buChar char="-"/>
            </a:pPr>
            <a:r>
              <a:rPr lang="it-IT" sz="2400" b="1" dirty="0" smtClean="0"/>
              <a:t>Composizione della Commissione:</a:t>
            </a:r>
          </a:p>
          <a:p>
            <a:pPr marL="36576" fontAlgn="auto"/>
            <a:r>
              <a:rPr lang="it-IT" sz="2400" b="1" i="1" dirty="0" smtClean="0"/>
              <a:t>Professionisti che si occupano di diversi argomenti della salute e sicurezza negli ambienti di lavoro</a:t>
            </a:r>
          </a:p>
          <a:p>
            <a:pPr marL="379476" indent="-342900" fontAlgn="auto">
              <a:buFontTx/>
              <a:buChar char="-"/>
            </a:pPr>
            <a:endParaRPr lang="it-IT" sz="2400" b="1" dirty="0" smtClean="0"/>
          </a:p>
          <a:p>
            <a:pPr marL="379476" indent="-342900" fontAlgn="auto">
              <a:buFontTx/>
              <a:buChar char="-"/>
            </a:pPr>
            <a:endParaRPr lang="it-IT" sz="2400" b="1" dirty="0"/>
          </a:p>
        </p:txBody>
      </p:sp>
      <p:sp>
        <p:nvSpPr>
          <p:cNvPr id="8" name="Segnaposto data 3"/>
          <p:cNvSpPr txBox="1">
            <a:spLocks/>
          </p:cNvSpPr>
          <p:nvPr/>
        </p:nvSpPr>
        <p:spPr>
          <a:xfrm>
            <a:off x="243568" y="6386413"/>
            <a:ext cx="228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/>
              <a:t>Modena 26  Gennaio  2019</a:t>
            </a:r>
            <a:endParaRPr lang="it-IT" dirty="0"/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487361" y="116632"/>
            <a:ext cx="7772400" cy="792088"/>
          </a:xfrm>
          <a:prstGeom prst="rect">
            <a:avLst/>
          </a:prstGeom>
        </p:spPr>
        <p:txBody>
          <a:bodyPr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 fontAlgn="auto">
              <a:spcAft>
                <a:spcPts val="0"/>
              </a:spcAft>
            </a:pPr>
            <a:r>
              <a:rPr lang="it-IT" sz="5400" dirty="0" smtClean="0"/>
              <a:t>CHI SIAMO</a:t>
            </a:r>
            <a:endParaRPr lang="it-IT" sz="5400" dirty="0"/>
          </a:p>
        </p:txBody>
      </p:sp>
    </p:spTree>
    <p:extLst>
      <p:ext uri="{BB962C8B-B14F-4D97-AF65-F5344CB8AC3E}">
        <p14:creationId xmlns:p14="http://schemas.microsoft.com/office/powerpoint/2010/main" val="339266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487361" y="116632"/>
            <a:ext cx="7772400" cy="792088"/>
          </a:xfrm>
          <a:prstGeom prst="rect">
            <a:avLst/>
          </a:prstGeom>
        </p:spPr>
        <p:txBody>
          <a:bodyPr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 fontAlgn="auto">
              <a:spcAft>
                <a:spcPts val="0"/>
              </a:spcAft>
            </a:pPr>
            <a:r>
              <a:rPr lang="it-IT" dirty="0" smtClean="0"/>
              <a:t>COSA ABBIAMO FATTO</a:t>
            </a:r>
            <a:endParaRPr lang="it-IT" dirty="0"/>
          </a:p>
        </p:txBody>
      </p:sp>
      <p:sp>
        <p:nvSpPr>
          <p:cNvPr id="6" name="Sottotitolo 2"/>
          <p:cNvSpPr txBox="1">
            <a:spLocks/>
          </p:cNvSpPr>
          <p:nvPr/>
        </p:nvSpPr>
        <p:spPr>
          <a:xfrm>
            <a:off x="371990" y="1561299"/>
            <a:ext cx="4620108" cy="1368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 fontAlgn="auto"/>
            <a:r>
              <a:rPr lang="it-IT" sz="2800" b="1" dirty="0" smtClean="0"/>
              <a:t>Visita aziendale presso </a:t>
            </a:r>
            <a:r>
              <a:rPr lang="it-IT" sz="2800" b="1" dirty="0" err="1" smtClean="0"/>
              <a:t>COMER</a:t>
            </a:r>
            <a:r>
              <a:rPr lang="it-IT" sz="2800" b="1" dirty="0" smtClean="0"/>
              <a:t> </a:t>
            </a:r>
            <a:r>
              <a:rPr lang="it-IT" sz="2800" b="1" dirty="0" err="1" smtClean="0"/>
              <a:t>INDUSTRIES</a:t>
            </a:r>
            <a:endParaRPr lang="it-IT" sz="2800" b="1" dirty="0" smtClean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758" y="1196752"/>
            <a:ext cx="3714432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472" y="1196752"/>
            <a:ext cx="3714432" cy="5388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596" y="2915896"/>
            <a:ext cx="3571347" cy="2678511"/>
          </a:xfrm>
          <a:prstGeom prst="rect">
            <a:avLst/>
          </a:prstGeom>
        </p:spPr>
      </p:pic>
      <p:sp>
        <p:nvSpPr>
          <p:cNvPr id="10" name="Sottotitolo 2"/>
          <p:cNvSpPr txBox="1">
            <a:spLocks/>
          </p:cNvSpPr>
          <p:nvPr/>
        </p:nvSpPr>
        <p:spPr>
          <a:xfrm>
            <a:off x="221989" y="2060847"/>
            <a:ext cx="5286115" cy="85504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 fontAlgn="auto"/>
            <a:r>
              <a:rPr lang="it-IT" sz="2800" b="1" dirty="0"/>
              <a:t>Convegno </a:t>
            </a:r>
            <a:r>
              <a:rPr lang="it-IT" sz="2800" b="1" dirty="0" err="1"/>
              <a:t>RSPP</a:t>
            </a:r>
            <a:r>
              <a:rPr lang="it-IT" sz="2800" b="1" dirty="0"/>
              <a:t> 360°</a:t>
            </a:r>
            <a:endParaRPr lang="it-IT" sz="2800" b="1" dirty="0" smtClean="0"/>
          </a:p>
          <a:p>
            <a:pPr marL="379476" indent="-342900" fontAlgn="auto">
              <a:buFontTx/>
              <a:buChar char="-"/>
            </a:pPr>
            <a:endParaRPr lang="it-IT" sz="2800" b="1" dirty="0"/>
          </a:p>
        </p:txBody>
      </p:sp>
      <p:sp>
        <p:nvSpPr>
          <p:cNvPr id="11" name="Sottotitolo 2"/>
          <p:cNvSpPr txBox="1">
            <a:spLocks/>
          </p:cNvSpPr>
          <p:nvPr/>
        </p:nvSpPr>
        <p:spPr>
          <a:xfrm>
            <a:off x="456295" y="1254988"/>
            <a:ext cx="7803466" cy="1838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 fontAlgn="auto"/>
            <a:r>
              <a:rPr lang="it-IT" sz="3000" b="1" dirty="0" smtClean="0"/>
              <a:t>Seminar LAVORARE </a:t>
            </a:r>
            <a:r>
              <a:rPr lang="it-IT" sz="3000" b="1" dirty="0"/>
              <a:t>IN SICUREZZA PER </a:t>
            </a:r>
            <a:r>
              <a:rPr lang="it-IT" sz="3000" b="1" dirty="0" err="1"/>
              <a:t>EFFICIENTARE</a:t>
            </a:r>
            <a:r>
              <a:rPr lang="it-IT" sz="3000" b="1" dirty="0"/>
              <a:t> I PROCESSI </a:t>
            </a:r>
            <a:r>
              <a:rPr lang="it-IT" sz="3000" b="1" dirty="0" smtClean="0"/>
              <a:t>PRODUTTIVI</a:t>
            </a:r>
          </a:p>
          <a:p>
            <a:pPr marL="379476" indent="-342900" fontAlgn="auto">
              <a:buFontTx/>
              <a:buChar char="-"/>
            </a:pPr>
            <a:endParaRPr lang="it-IT" sz="3000" b="1" dirty="0"/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3763" y="4581128"/>
            <a:ext cx="2742423" cy="1542613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356992"/>
            <a:ext cx="2710482" cy="2769406"/>
          </a:xfrm>
          <a:prstGeom prst="rect">
            <a:avLst/>
          </a:prstGeom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77" y="2488371"/>
            <a:ext cx="2556243" cy="3638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ottotitolo 2"/>
          <p:cNvSpPr txBox="1">
            <a:spLocks/>
          </p:cNvSpPr>
          <p:nvPr/>
        </p:nvSpPr>
        <p:spPr>
          <a:xfrm>
            <a:off x="243568" y="1996925"/>
            <a:ext cx="7830599" cy="9828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 fontAlgn="auto"/>
            <a:r>
              <a:rPr lang="it-IT" sz="2800" b="1" dirty="0"/>
              <a:t>Collaborazione nell’organizzazione di corsi con altre commissioni </a:t>
            </a:r>
            <a:endParaRPr lang="it-IT" sz="2800" b="1" dirty="0" smtClean="0"/>
          </a:p>
          <a:p>
            <a:pPr marL="379476" indent="-342900" fontAlgn="auto">
              <a:buFontTx/>
              <a:buChar char="-"/>
            </a:pPr>
            <a:endParaRPr lang="it-IT" sz="2800" b="1" dirty="0"/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002" y="3093133"/>
            <a:ext cx="2565948" cy="2265335"/>
          </a:xfrm>
          <a:prstGeom prst="rect">
            <a:avLst/>
          </a:prstGeom>
        </p:spPr>
      </p:pic>
      <p:sp>
        <p:nvSpPr>
          <p:cNvPr id="17" name="Segnaposto data 3"/>
          <p:cNvSpPr txBox="1">
            <a:spLocks/>
          </p:cNvSpPr>
          <p:nvPr/>
        </p:nvSpPr>
        <p:spPr>
          <a:xfrm>
            <a:off x="243568" y="6386413"/>
            <a:ext cx="228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/>
              <a:t>Modena 26  Gennaio  2019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77791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1" grpId="0" build="p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7544" y="1916832"/>
            <a:ext cx="8280920" cy="3672408"/>
          </a:xfrm>
        </p:spPr>
        <p:txBody>
          <a:bodyPr>
            <a:normAutofit fontScale="92500" lnSpcReduction="20000"/>
          </a:bodyPr>
          <a:lstStyle/>
          <a:p>
            <a:pPr marL="379476" indent="-342900" algn="l">
              <a:buFontTx/>
              <a:buChar char="-"/>
            </a:pPr>
            <a:r>
              <a:rPr lang="it-IT" sz="2400" b="1" dirty="0" smtClean="0"/>
              <a:t>Approfondimento di tematiche di interesse anche in collaborazione con altre commissioni (Seminario «I RISCHI INTERFERENZIALI NEI LUOGHI DI LAVORO» 22/02/19 Commissione Cantieri e Commissione Ingegneria Ospedaliera, Biomedica e Sanità)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Organizzazione di visite aziendali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Collaborazione attiva con altre commissioni (membri attivi che partecipano anche ad altre commissioni)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Approfondimento della nuova normativa settoriale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Efficace brainstorming </a:t>
            </a:r>
          </a:p>
          <a:p>
            <a:pPr marL="379476" indent="-342900" algn="l">
              <a:buFontTx/>
              <a:buChar char="-"/>
            </a:pPr>
            <a:r>
              <a:rPr lang="it-IT" sz="2400" b="1" dirty="0" smtClean="0"/>
              <a:t>Mettersi a disposizione dell’Ordine</a:t>
            </a:r>
          </a:p>
          <a:p>
            <a:pPr marL="379476" indent="-342900" algn="l">
              <a:buFontTx/>
              <a:buChar char="-"/>
            </a:pPr>
            <a:endParaRPr lang="it-IT" sz="2400" b="1" dirty="0"/>
          </a:p>
        </p:txBody>
      </p:sp>
      <p:sp>
        <p:nvSpPr>
          <p:cNvPr id="7" name="Segnaposto data 3"/>
          <p:cNvSpPr txBox="1">
            <a:spLocks/>
          </p:cNvSpPr>
          <p:nvPr/>
        </p:nvSpPr>
        <p:spPr>
          <a:xfrm>
            <a:off x="243568" y="6386413"/>
            <a:ext cx="228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/>
              <a:t>Modena 26  Gennaio  2019</a:t>
            </a:r>
            <a:endParaRPr lang="it-IT" dirty="0"/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487361" y="116632"/>
            <a:ext cx="7772400" cy="792088"/>
          </a:xfrm>
          <a:prstGeom prst="rect">
            <a:avLst/>
          </a:prstGeom>
        </p:spPr>
        <p:txBody>
          <a:bodyPr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 fontAlgn="auto">
              <a:spcAft>
                <a:spcPts val="0"/>
              </a:spcAft>
            </a:pPr>
            <a:r>
              <a:rPr lang="it-IT" sz="5400" dirty="0" smtClean="0"/>
              <a:t>PROSSIMI OBIETTIVI</a:t>
            </a:r>
            <a:endParaRPr lang="it-IT" sz="5400" dirty="0"/>
          </a:p>
        </p:txBody>
      </p:sp>
    </p:spTree>
    <p:extLst>
      <p:ext uri="{BB962C8B-B14F-4D97-AF65-F5344CB8AC3E}">
        <p14:creationId xmlns:p14="http://schemas.microsoft.com/office/powerpoint/2010/main" val="3266914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/>
          <p:cNvSpPr>
            <a:spLocks noGrp="1"/>
          </p:cNvSpPr>
          <p:nvPr>
            <p:ph type="ctrTitle"/>
          </p:nvPr>
        </p:nvSpPr>
        <p:spPr>
          <a:xfrm>
            <a:off x="755576" y="1412776"/>
            <a:ext cx="7175351" cy="4392488"/>
          </a:xfrm>
        </p:spPr>
        <p:txBody>
          <a:bodyPr/>
          <a:lstStyle/>
          <a:p>
            <a:pPr marL="182880" indent="0" algn="ctr">
              <a:lnSpc>
                <a:spcPct val="200000"/>
              </a:lnSpc>
              <a:buNone/>
            </a:pPr>
            <a:r>
              <a:rPr lang="it-IT" sz="6600" dirty="0" smtClean="0"/>
              <a:t>BUON LAVORO A TUTTI !</a:t>
            </a:r>
            <a:endParaRPr lang="it-IT" sz="6600" dirty="0"/>
          </a:p>
        </p:txBody>
      </p:sp>
      <p:sp>
        <p:nvSpPr>
          <p:cNvPr id="7" name="Segnaposto data 3"/>
          <p:cNvSpPr txBox="1">
            <a:spLocks/>
          </p:cNvSpPr>
          <p:nvPr/>
        </p:nvSpPr>
        <p:spPr>
          <a:xfrm>
            <a:off x="243568" y="6386413"/>
            <a:ext cx="228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/>
              <a:t>Modena 26  Gennaio  2019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9980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/&gt;&lt;m_precDefaultPercent/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ica">
  <a:themeElements>
    <a:clrScheme name="Elica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Elica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lica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244</TotalTime>
  <Words>174</Words>
  <Application>Microsoft Office PowerPoint</Application>
  <PresentationFormat>Presentazione su schermo (4:3)</PresentationFormat>
  <Paragraphs>25</Paragraphs>
  <Slides>5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7" baseType="lpstr">
      <vt:lpstr>Elica</vt:lpstr>
      <vt:lpstr>Diapositiva think-cell</vt:lpstr>
      <vt:lpstr>COMMISSIONE   Salute e Sicurezza  nei luoghi di lavoro</vt:lpstr>
      <vt:lpstr>Presentazione standard di PowerPoint</vt:lpstr>
      <vt:lpstr>Presentazione standard di PowerPoint</vt:lpstr>
      <vt:lpstr>Presentazione standard di PowerPoint</vt:lpstr>
      <vt:lpstr>BUON LAVORO A TUTTI !</vt:lpstr>
    </vt:vector>
  </TitlesOfParts>
  <Company>Automobili Lamborghini S.p.A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ing list</dc:title>
  <dc:creator>Marenco, Guido (L/P-2)</dc:creator>
  <cp:lastModifiedBy>Anna</cp:lastModifiedBy>
  <cp:revision>59</cp:revision>
  <dcterms:created xsi:type="dcterms:W3CDTF">2015-09-10T18:49:11Z</dcterms:created>
  <dcterms:modified xsi:type="dcterms:W3CDTF">2019-01-25T16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0721571040</vt:lpwstr>
  </property>
</Properties>
</file>